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94" r:id="rId2"/>
    <p:sldId id="299" r:id="rId3"/>
    <p:sldId id="295" r:id="rId4"/>
    <p:sldId id="297" r:id="rId5"/>
    <p:sldId id="298" r:id="rId6"/>
    <p:sldId id="284" r:id="rId7"/>
    <p:sldId id="274" r:id="rId8"/>
  </p:sldIdLst>
  <p:sldSz cx="9144000" cy="6858000" type="screen4x3"/>
  <p:notesSz cx="6797675" cy="9872663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66"/>
    <a:srgbClr val="66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06799F8-075E-4A3A-A7F6-7FBC6576F1A4}" styleName="Tema Uygulanmış Stil 2 - Vurgu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FD0F851-EC5A-4D38-B0AD-8093EC10F338}" styleName="Açık Stil 1 - Vurgu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Koyu Stil 1 - Vurgu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Koyu Stil 1 - Vurgu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Koyu Stil 1 - Vurgu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9631B5-78F2-41C9-869B-9F39066F8104}" styleName="Orta Stil 3 - Vurgu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7AC3CCA-C797-4891-BE02-D94E43425B78}" styleName="Orta Stil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Orta Stil 4 - Vurgu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Stil Yok, Tablo Kılavuz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til Yok, Kılavuz Yok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Açık Sti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7670" autoAdjust="0"/>
  </p:normalViewPr>
  <p:slideViewPr>
    <p:cSldViewPr>
      <p:cViewPr varScale="1">
        <p:scale>
          <a:sx n="59" d="100"/>
          <a:sy n="59" d="100"/>
        </p:scale>
        <p:origin x="984" y="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r">
              <a:defRPr sz="1200"/>
            </a:lvl1pPr>
          </a:lstStyle>
          <a:p>
            <a:fld id="{E97D8D04-8981-4AE4-B55B-41189C458C08}" type="datetimeFigureOut">
              <a:rPr lang="tr-TR" smtClean="0"/>
              <a:pPr/>
              <a:t>4.09.2019</a:t>
            </a:fld>
            <a:endParaRPr lang="tr-TR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1177925" y="1233488"/>
            <a:ext cx="444182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66" tIns="45583" rIns="91166" bIns="45583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79768" y="4751218"/>
            <a:ext cx="5438140" cy="3887362"/>
          </a:xfrm>
          <a:prstGeom prst="rect">
            <a:avLst/>
          </a:prstGeom>
        </p:spPr>
        <p:txBody>
          <a:bodyPr vert="horz" lIns="91166" tIns="45583" rIns="91166" bIns="45583" rtlCol="0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50443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r">
              <a:defRPr sz="1200"/>
            </a:lvl1pPr>
          </a:lstStyle>
          <a:p>
            <a:fld id="{E7A174EC-FB91-48F8-B92F-CDCA85A4AB9F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85299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8507131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3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215852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5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120312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 smtClean="0"/>
              <a:t>Asıl alt başlık stilini düzenlemek için tıklatın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4.09.2019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834502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4.09.2019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444906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4.09.2019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82817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4.09.2019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722826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4.09.2019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801711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4.09.2019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54272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4.09.2019</a:t>
            </a:fld>
            <a:endParaRPr lang="tr-TR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915932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4.09.2019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35641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4.09.2019</a:t>
            </a:fld>
            <a:endParaRPr lang="tr-TR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956051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4.09.2019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64351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4.09.2019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12380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809FF9-1140-4B00-BC12-214F505C40B3}" type="datetimeFigureOut">
              <a:rPr lang="tr-TR" smtClean="0"/>
              <a:pPr/>
              <a:t>4.09.2019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25118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gif"/><Relationship Id="rId3" Type="http://schemas.openxmlformats.org/officeDocument/2006/relationships/tags" Target="../tags/tag3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-540567" y="116632"/>
            <a:ext cx="9684568" cy="1472259"/>
            <a:chOff x="1199957" y="162167"/>
            <a:chExt cx="7699376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626382" y="182985"/>
              <a:ext cx="1001713" cy="638175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87333" y="232991"/>
              <a:ext cx="7045325" cy="538162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199957" y="360604"/>
              <a:ext cx="7632700" cy="2913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 smtClean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.C.</a:t>
              </a:r>
            </a:p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 smtClean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SMANİYE VALİLİĞİ</a:t>
              </a:r>
              <a:endParaRPr lang="en-US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Metin kutusu 10"/>
          <p:cNvSpPr txBox="1"/>
          <p:nvPr/>
        </p:nvSpPr>
        <p:spPr>
          <a:xfrm>
            <a:off x="7474" y="1677952"/>
            <a:ext cx="912905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3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İL KOORDİNASYON KURULU IV. </a:t>
            </a:r>
            <a:r>
              <a:rPr lang="tr-TR" sz="3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TOPLANTISI</a:t>
            </a:r>
            <a:endParaRPr lang="tr-TR" sz="32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algn="ctr"/>
            <a:r>
              <a:rPr lang="tr-TR" sz="3200" b="1" dirty="0" smtClean="0">
                <a:ln w="1905"/>
                <a:solidFill>
                  <a:srgbClr val="FF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2019/3. Dönem Değerlendirmesi</a:t>
            </a:r>
            <a:endParaRPr lang="tr-TR" sz="3200" b="1" dirty="0" smtClean="0">
              <a:ln w="1905"/>
              <a:solidFill>
                <a:srgbClr val="FF00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257" y="270116"/>
            <a:ext cx="1142530" cy="1142113"/>
          </a:xfrm>
          <a:prstGeom prst="rect">
            <a:avLst/>
          </a:prstGeom>
        </p:spPr>
      </p:pic>
      <p:pic>
        <p:nvPicPr>
          <p:cNvPr id="14" name="Resim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076" y="215070"/>
            <a:ext cx="1286782" cy="1286782"/>
          </a:xfrm>
          <a:prstGeom prst="rect">
            <a:avLst/>
          </a:prstGeom>
        </p:spPr>
      </p:pic>
      <p:sp>
        <p:nvSpPr>
          <p:cNvPr id="12" name="Metin kutusu 11"/>
          <p:cNvSpPr txBox="1"/>
          <p:nvPr/>
        </p:nvSpPr>
        <p:spPr>
          <a:xfrm>
            <a:off x="36515" y="3080813"/>
            <a:ext cx="9136526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3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KURUM ADI </a:t>
            </a:r>
          </a:p>
          <a:p>
            <a:pPr algn="ctr"/>
            <a:r>
              <a:rPr lang="tr-TR" sz="3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(ve varsa LOGO)</a:t>
            </a:r>
          </a:p>
          <a:p>
            <a:pPr algn="ctr"/>
            <a:endParaRPr lang="tr-TR" sz="2000" b="1" dirty="0" smtClean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algn="ctr"/>
            <a:r>
              <a:rPr lang="tr-TR" sz="2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SUNUM </a:t>
            </a:r>
            <a:r>
              <a:rPr lang="tr-TR" sz="2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YAPACAK KURUM AMİRİ </a:t>
            </a:r>
          </a:p>
          <a:p>
            <a:pPr algn="ctr"/>
            <a:r>
              <a:rPr lang="tr-TR" sz="2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ADI SOYAD UNVAN</a:t>
            </a:r>
          </a:p>
          <a:p>
            <a:pPr algn="ctr"/>
            <a:endParaRPr lang="tr-TR" sz="36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algn="ctr"/>
            <a:r>
              <a:rPr lang="tr-TR" sz="3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8 EKİM 2019</a:t>
            </a:r>
            <a:endParaRPr lang="tr-TR" sz="32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41066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241537" y="380260"/>
            <a:ext cx="6438900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77888">
              <a:buClr>
                <a:srgbClr val="FF6600"/>
              </a:buClr>
              <a:defRPr/>
            </a:pPr>
            <a:endParaRPr lang="en-US" sz="2000" b="1" kern="0" dirty="0">
              <a:solidFill>
                <a:srgbClr val="FFFFFF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1852577"/>
              </p:ext>
            </p:extLst>
          </p:nvPr>
        </p:nvGraphicFramePr>
        <p:xfrm>
          <a:off x="39466" y="810763"/>
          <a:ext cx="9065069" cy="4925989"/>
        </p:xfrm>
        <a:graphic>
          <a:graphicData uri="http://schemas.openxmlformats.org/drawingml/2006/table">
            <a:tbl>
              <a:tblPr>
                <a:tableStyleId>{D03447BB-5D67-496B-8E87-E561075AD55C}</a:tableStyleId>
              </a:tblPr>
              <a:tblGrid>
                <a:gridCol w="29237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35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35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235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235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2355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2355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73114">
                <a:tc gridSpan="7">
                  <a:txBody>
                    <a:bodyPr/>
                    <a:lstStyle/>
                    <a:p>
                      <a:pPr algn="l" fontAlgn="t"/>
                      <a:r>
                        <a:rPr lang="tr-TR" sz="16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  <a:r>
                        <a:rPr lang="tr-TR" sz="1600" b="1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……………..  </a:t>
                      </a:r>
                      <a:r>
                        <a:rPr lang="tr-TR" sz="16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Bölge/İl</a:t>
                      </a:r>
                      <a:r>
                        <a:rPr lang="tr-TR" sz="1600" b="1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6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Müdürlüğü</a:t>
                      </a:r>
                      <a:r>
                        <a:rPr lang="tr-TR" sz="1600" b="1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600" b="1" i="0" u="none" strike="noStrike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906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endParaRPr lang="tr-TR" sz="1400" b="1" i="0" u="none" strike="noStrike" kern="1200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Sektör adı-1</a:t>
                      </a:r>
                    </a:p>
                    <a:p>
                      <a:pPr algn="ctr" fontAlgn="ctr"/>
                      <a:r>
                        <a:rPr lang="tr-TR" sz="1400" b="1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…………….</a:t>
                      </a:r>
                      <a:endParaRPr lang="tr-TR" sz="1400" b="1" i="0" u="none" strike="noStrike" kern="1200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Sektör</a:t>
                      </a:r>
                      <a:r>
                        <a:rPr lang="tr-TR" sz="1400" b="1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adı-2</a:t>
                      </a:r>
                    </a:p>
                    <a:p>
                      <a:pPr algn="ctr" fontAlgn="ctr"/>
                      <a:r>
                        <a:rPr lang="tr-TR" sz="1400" b="1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…………….</a:t>
                      </a:r>
                      <a:endParaRPr lang="tr-TR" sz="1400" b="1" i="0" u="none" strike="noStrike" kern="1200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Sektör </a:t>
                      </a:r>
                      <a:r>
                        <a:rPr lang="tr-TR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adı-3</a:t>
                      </a:r>
                    </a:p>
                    <a:p>
                      <a:pPr algn="ctr" fontAlgn="ctr"/>
                      <a:r>
                        <a:rPr lang="tr-TR" sz="1400" b="1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…………….</a:t>
                      </a:r>
                      <a:endParaRPr lang="tr-TR" sz="1400" b="1" i="0" u="none" strike="noStrike" kern="1200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Sektör </a:t>
                      </a:r>
                      <a:r>
                        <a:rPr lang="tr-TR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adı-4</a:t>
                      </a:r>
                    </a:p>
                    <a:p>
                      <a:pPr algn="ctr" fontAlgn="ctr"/>
                      <a:r>
                        <a:rPr lang="tr-TR" sz="1400" b="1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  <a:endParaRPr lang="tr-TR" sz="1400" b="1" i="0" u="none" strike="noStrike" kern="1200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Sektör </a:t>
                      </a:r>
                      <a:r>
                        <a:rPr lang="tr-TR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adı-5</a:t>
                      </a:r>
                    </a:p>
                    <a:p>
                      <a:pPr algn="ctr" fontAlgn="ctr"/>
                      <a:r>
                        <a:rPr lang="tr-TR" sz="1400" b="1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  <a:endParaRPr lang="tr-TR" sz="1400" b="1" i="0" u="none" strike="noStrike" kern="1200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9844">
                <a:tc gridSpan="7"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Projelerin Genel Durumu</a:t>
                      </a: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6756">
                <a:tc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Proje </a:t>
                      </a:r>
                      <a:r>
                        <a:rPr lang="tr-TR" sz="1400" b="1" u="none" strike="noStrike" dirty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S</a:t>
                      </a:r>
                      <a:r>
                        <a:rPr lang="tr-TR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ayısı</a:t>
                      </a:r>
                      <a:endParaRPr lang="tr-TR" sz="1400" b="1" i="0" u="none" strike="noStrike" dirty="0">
                        <a:solidFill>
                          <a:srgbClr val="00206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6756">
                <a:tc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Proje </a:t>
                      </a:r>
                      <a:r>
                        <a:rPr lang="tr-TR" sz="1400" b="1" u="none" strike="noStrike" dirty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T</a:t>
                      </a:r>
                      <a:r>
                        <a:rPr lang="tr-TR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utarı </a:t>
                      </a:r>
                      <a:r>
                        <a:rPr lang="tr-TR" sz="1400" b="1" u="none" strike="noStrike" dirty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400" b="1" i="0" u="none" strike="noStrike" dirty="0">
                        <a:solidFill>
                          <a:srgbClr val="00206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6756">
                <a:tc gridSpan="7"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Projelerin Ödenek Durumları</a:t>
                      </a:r>
                      <a:endParaRPr lang="tr-TR" sz="1400" b="1" u="none" strike="noStrike" kern="1200" dirty="0">
                        <a:solidFill>
                          <a:srgbClr val="00206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6756">
                <a:tc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Merkezi Bütçe </a:t>
                      </a:r>
                      <a:r>
                        <a:rPr lang="tr-TR" sz="1400" b="1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sv-SE" sz="1400" b="1" i="0" u="none" strike="noStrike" dirty="0">
                        <a:solidFill>
                          <a:srgbClr val="00206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298107"/>
                  </a:ext>
                </a:extLst>
              </a:tr>
              <a:tr h="326756">
                <a:tc>
                  <a:txBody>
                    <a:bodyPr/>
                    <a:lstStyle/>
                    <a:p>
                      <a:pPr algn="l" fontAlgn="t"/>
                      <a:r>
                        <a:rPr lang="tr-TR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Diğer (……………</a:t>
                      </a:r>
                      <a:r>
                        <a:rPr lang="tr-TR" sz="1400" b="1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) (TL)</a:t>
                      </a:r>
                      <a:endParaRPr lang="tr-TR" sz="1400" b="1" i="0" u="none" strike="noStrike" dirty="0">
                        <a:solidFill>
                          <a:srgbClr val="00206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346599"/>
                  </a:ext>
                </a:extLst>
              </a:tr>
              <a:tr h="326756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sv-SE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201</a:t>
                      </a:r>
                      <a:r>
                        <a:rPr lang="tr-TR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7</a:t>
                      </a:r>
                      <a:r>
                        <a:rPr lang="sv-SE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Y</a:t>
                      </a:r>
                      <a:r>
                        <a:rPr lang="sv-SE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ılı</a:t>
                      </a:r>
                      <a:r>
                        <a:rPr lang="tr-TR" sz="1400" b="1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Toplam Ödeneği (TL)</a:t>
                      </a:r>
                      <a:endParaRPr lang="tr-TR" sz="1400" b="1" i="0" u="none" strike="noStrike" dirty="0">
                        <a:solidFill>
                          <a:srgbClr val="00206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3682363"/>
                  </a:ext>
                </a:extLst>
              </a:tr>
              <a:tr h="326756">
                <a:tc gridSpan="7"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Projelerin </a:t>
                      </a:r>
                      <a:r>
                        <a:rPr lang="tr-TR" sz="14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Parasal Gerçekleşme </a:t>
                      </a:r>
                      <a:r>
                        <a:rPr lang="tr-TR" sz="14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Durumu</a:t>
                      </a: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5328667"/>
                  </a:ext>
                </a:extLst>
              </a:tr>
              <a:tr h="326756">
                <a:tc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Önceki </a:t>
                      </a:r>
                      <a:r>
                        <a:rPr lang="tr-TR" sz="1400" b="1" u="none" strike="noStrike" dirty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Y</a:t>
                      </a:r>
                      <a:r>
                        <a:rPr lang="tr-TR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ıllar Harcamaları (TL)</a:t>
                      </a:r>
                      <a:endParaRPr lang="tr-TR" sz="1400" b="1" i="0" u="none" strike="noStrike" dirty="0">
                        <a:solidFill>
                          <a:srgbClr val="00206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tr-TR" sz="1400" b="1" i="0" u="none" strike="noStrike" kern="1200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5694814"/>
                  </a:ext>
                </a:extLst>
              </a:tr>
              <a:tr h="326756">
                <a:tc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2017 Yılı Harcaması (TL</a:t>
                      </a:r>
                      <a:r>
                        <a:rPr lang="tr-TR" sz="1400" b="1" u="none" strike="noStrike" dirty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)</a:t>
                      </a:r>
                      <a:endParaRPr lang="tr-TR" sz="1400" b="1" i="0" u="none" strike="noStrike" dirty="0">
                        <a:solidFill>
                          <a:srgbClr val="00206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tr-TR" sz="1400" b="1" i="0" u="none" strike="noStrike" kern="1200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7933198"/>
                  </a:ext>
                </a:extLst>
              </a:tr>
              <a:tr h="326756">
                <a:tc>
                  <a:txBody>
                    <a:bodyPr/>
                    <a:lstStyle/>
                    <a:p>
                      <a:pPr algn="l" fontAlgn="t"/>
                      <a:r>
                        <a:rPr lang="tr-TR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4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Toplam Harcama</a:t>
                      </a:r>
                      <a:endParaRPr lang="tr-TR" sz="1400" b="1" u="none" strike="noStrike" kern="1200" dirty="0">
                        <a:solidFill>
                          <a:srgbClr val="00206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tr-TR" sz="1400" b="1" i="0" u="none" strike="noStrike" kern="1200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8633902"/>
                  </a:ext>
                </a:extLst>
              </a:tr>
              <a:tr h="326756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Parasal Gerçekleşme (Yüzde)</a:t>
                      </a:r>
                      <a:endParaRPr lang="tr-TR" sz="1400" b="1" i="0" u="none" strike="noStrike" dirty="0">
                        <a:solidFill>
                          <a:srgbClr val="00206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tr-TR" sz="1400" b="1" i="0" u="none" strike="noStrike" kern="1200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9600389"/>
                  </a:ext>
                </a:extLst>
              </a:tr>
            </a:tbl>
          </a:graphicData>
        </a:graphic>
      </p:graphicFrame>
      <p:sp>
        <p:nvSpPr>
          <p:cNvPr id="7" name="Yuvarlatılmış Dikdörtgen 6"/>
          <p:cNvSpPr/>
          <p:nvPr/>
        </p:nvSpPr>
        <p:spPr>
          <a:xfrm>
            <a:off x="1" y="44624"/>
            <a:ext cx="9144000" cy="72634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Yatırımcı Kuruluş Dönem Raporu</a:t>
            </a:r>
          </a:p>
        </p:txBody>
      </p:sp>
      <p:sp>
        <p:nvSpPr>
          <p:cNvPr id="2" name="Metin kutusu 1"/>
          <p:cNvSpPr txBox="1"/>
          <p:nvPr/>
        </p:nvSpPr>
        <p:spPr>
          <a:xfrm>
            <a:off x="8096320" y="201265"/>
            <a:ext cx="899592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 smtClean="0">
                <a:latin typeface="Garamond" panose="02020404030301010803" pitchFamily="18" charset="0"/>
              </a:rPr>
              <a:t>EK-1</a:t>
            </a:r>
            <a:endParaRPr lang="tr-TR" sz="1600" b="1" dirty="0">
              <a:latin typeface="Garamond" panose="02020404030301010803" pitchFamily="18" charset="0"/>
            </a:endParaRPr>
          </a:p>
        </p:txBody>
      </p:sp>
      <p:graphicFrame>
        <p:nvGraphicFramePr>
          <p:cNvPr id="8" name="Tablo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9494297"/>
              </p:ext>
            </p:extLst>
          </p:nvPr>
        </p:nvGraphicFramePr>
        <p:xfrm>
          <a:off x="39466" y="6165304"/>
          <a:ext cx="9065068" cy="3143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0650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7111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NOT:  </a:t>
                      </a:r>
                      <a:r>
                        <a:rPr lang="tr-TR" sz="1000" b="1" i="0" u="none" strike="noStrike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Sektör Adları için; </a:t>
                      </a:r>
                      <a:r>
                        <a:rPr lang="tr-TR" sz="1000" b="1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Tarım, Madencilik, İmalat, Ulaştırma, Turizm, Konut,  Eğitim, Sağlık, Enerji, Diğer Kamu Hizmetleri </a:t>
                      </a:r>
                      <a:r>
                        <a:rPr lang="tr-TR" sz="1000" b="1" i="0" u="none" strike="noStrike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kullanılacaktır. Kurumların görev alanlarına göre başlıklara sektör adlarını eklemeleri gerekmektedir.</a:t>
                      </a:r>
                      <a:endParaRPr lang="tr-TR" sz="75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1" name="Tablo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1753091"/>
              </p:ext>
            </p:extLst>
          </p:nvPr>
        </p:nvGraphicFramePr>
        <p:xfrm>
          <a:off x="35496" y="5805264"/>
          <a:ext cx="9065068" cy="3143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0650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5316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NOT:  </a:t>
                      </a:r>
                      <a:r>
                        <a:rPr lang="tr-TR" sz="1000" b="1" i="0" u="none" strike="noStrike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Ödenek Durumu bilgilerinde; yatırım ödeneği Öz Kaynak, Dış Kredi, İç Kredi ve Hibe olan projeler için diğer bütçe türü seçilecek olup, ilgili veriler o satıra işlenecektir.</a:t>
                      </a:r>
                      <a:endParaRPr lang="tr-TR" sz="75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737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241537" y="380260"/>
            <a:ext cx="6438900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77888">
              <a:buClr>
                <a:srgbClr val="FF6600"/>
              </a:buClr>
              <a:defRPr/>
            </a:pPr>
            <a:endParaRPr lang="en-US" sz="2000" b="1" kern="0" dirty="0">
              <a:solidFill>
                <a:srgbClr val="FFFFFF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6668986"/>
              </p:ext>
            </p:extLst>
          </p:nvPr>
        </p:nvGraphicFramePr>
        <p:xfrm>
          <a:off x="60778" y="995490"/>
          <a:ext cx="8984608" cy="5096364"/>
        </p:xfrm>
        <a:graphic>
          <a:graphicData uri="http://schemas.openxmlformats.org/drawingml/2006/table">
            <a:tbl>
              <a:tblPr>
                <a:tableStyleId>{D03447BB-5D67-496B-8E87-E561075AD55C}</a:tableStyleId>
              </a:tblPr>
              <a:tblGrid>
                <a:gridCol w="28977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144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144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1447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1447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1447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1447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614144">
                <a:tc gridSpan="7">
                  <a:txBody>
                    <a:bodyPr/>
                    <a:lstStyle/>
                    <a:p>
                      <a:pPr algn="l" fontAlgn="t"/>
                      <a:r>
                        <a:rPr lang="tr-TR" sz="16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  <a:r>
                        <a:rPr lang="tr-TR" sz="1600" b="1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…………….. </a:t>
                      </a:r>
                      <a:r>
                        <a:rPr lang="tr-TR" sz="16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Müdürlüğü/Başkanlığı</a:t>
                      </a:r>
                      <a:endParaRPr lang="tr-TR" sz="1600" b="0" i="0" u="none" strike="noStrike" dirty="0">
                        <a:solidFill>
                          <a:schemeClr val="bg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908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endParaRPr lang="tr-TR" sz="1400" b="1" i="0" u="none" strike="noStrike" kern="1200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Sektör adı-1</a:t>
                      </a:r>
                    </a:p>
                    <a:p>
                      <a:pPr algn="ctr" fontAlgn="ctr"/>
                      <a:r>
                        <a:rPr lang="tr-TR" sz="1400" b="1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…………….</a:t>
                      </a:r>
                      <a:endParaRPr lang="tr-TR" sz="1400" b="1" i="0" u="none" strike="noStrike" kern="1200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Sektör</a:t>
                      </a:r>
                      <a:r>
                        <a:rPr lang="tr-TR" sz="1400" b="1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adı-2</a:t>
                      </a:r>
                    </a:p>
                    <a:p>
                      <a:pPr algn="ctr" fontAlgn="ctr"/>
                      <a:r>
                        <a:rPr lang="tr-TR" sz="1400" b="1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…………….</a:t>
                      </a:r>
                      <a:endParaRPr lang="tr-TR" sz="1400" b="1" i="0" u="none" strike="noStrike" kern="1200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Sektör </a:t>
                      </a:r>
                      <a:r>
                        <a:rPr lang="tr-TR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adı-3</a:t>
                      </a:r>
                    </a:p>
                    <a:p>
                      <a:pPr algn="ctr" fontAlgn="ctr"/>
                      <a:r>
                        <a:rPr lang="tr-TR" sz="1400" b="1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…………….</a:t>
                      </a:r>
                      <a:endParaRPr lang="tr-TR" sz="1400" b="1" i="0" u="none" strike="noStrike" kern="1200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Sektör </a:t>
                      </a:r>
                      <a:r>
                        <a:rPr lang="tr-TR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adı-4</a:t>
                      </a:r>
                    </a:p>
                    <a:p>
                      <a:pPr algn="ctr" fontAlgn="ctr"/>
                      <a:r>
                        <a:rPr lang="tr-TR" sz="1400" b="1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  <a:endParaRPr lang="tr-TR" sz="1400" b="1" i="0" u="none" strike="noStrike" kern="1200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Sektör </a:t>
                      </a:r>
                      <a:r>
                        <a:rPr lang="tr-TR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adı-5</a:t>
                      </a:r>
                    </a:p>
                    <a:p>
                      <a:pPr algn="ctr" fontAlgn="ctr"/>
                      <a:r>
                        <a:rPr lang="tr-TR" sz="1400" b="1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  <a:endParaRPr lang="tr-TR" sz="1400" b="1" i="0" u="none" strike="noStrike" kern="1200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9785">
                <a:tc gridSpan="7"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dirty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Projelerin Fiziki Gerçekleşme Durumu</a:t>
                      </a:r>
                      <a:endParaRPr lang="tr-TR" sz="1400" b="1" i="0" u="none" strike="noStrike" dirty="0">
                        <a:solidFill>
                          <a:srgbClr val="00206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496142">
                <a:tc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Başlanamayan Proje Sayısı</a:t>
                      </a:r>
                      <a:endParaRPr lang="tr-TR" sz="1400" b="1" i="0" u="none" strike="noStrike" dirty="0">
                        <a:solidFill>
                          <a:srgbClr val="00206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tr-TR" sz="2000" b="1" i="0" u="none" strike="noStrike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531442">
                <a:tc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dirty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İhale </a:t>
                      </a:r>
                      <a:r>
                        <a:rPr lang="tr-TR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Aşamasındaki </a:t>
                      </a:r>
                      <a:r>
                        <a:rPr lang="tr-TR" sz="1400" b="1" u="none" strike="noStrike" dirty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P</a:t>
                      </a:r>
                      <a:r>
                        <a:rPr lang="tr-TR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roje </a:t>
                      </a:r>
                      <a:r>
                        <a:rPr lang="tr-TR" sz="1400" b="1" u="none" strike="noStrike" dirty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S</a:t>
                      </a:r>
                      <a:r>
                        <a:rPr lang="tr-TR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ayısı</a:t>
                      </a:r>
                      <a:endParaRPr lang="tr-TR" sz="1400" b="1" i="0" u="none" strike="noStrike" dirty="0">
                        <a:solidFill>
                          <a:srgbClr val="00206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tr-TR" sz="2000" b="1" i="0" u="none" strike="noStrike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531442">
                <a:tc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dirty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Yarım </a:t>
                      </a:r>
                      <a:r>
                        <a:rPr lang="tr-TR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Kalan </a:t>
                      </a:r>
                      <a:r>
                        <a:rPr lang="tr-TR" sz="1400" b="1" u="none" strike="noStrike" dirty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P</a:t>
                      </a:r>
                      <a:r>
                        <a:rPr lang="tr-TR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roje </a:t>
                      </a:r>
                      <a:r>
                        <a:rPr lang="tr-TR" sz="1400" b="1" u="none" strike="noStrike" dirty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S</a:t>
                      </a:r>
                      <a:r>
                        <a:rPr lang="tr-TR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ayısı</a:t>
                      </a:r>
                      <a:endParaRPr lang="tr-TR" sz="1400" b="1" i="0" u="none" strike="noStrike" dirty="0">
                        <a:solidFill>
                          <a:srgbClr val="00206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tr-TR" sz="2000" b="1" i="0" u="none" strike="noStrike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531442">
                <a:tc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Devam Eden </a:t>
                      </a:r>
                      <a:r>
                        <a:rPr lang="tr-TR" sz="1400" b="1" u="none" strike="noStrike" dirty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P</a:t>
                      </a:r>
                      <a:r>
                        <a:rPr lang="tr-TR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roje </a:t>
                      </a:r>
                      <a:r>
                        <a:rPr lang="tr-TR" sz="1400" b="1" u="none" strike="noStrike" dirty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S</a:t>
                      </a:r>
                      <a:r>
                        <a:rPr lang="tr-TR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ayısı</a:t>
                      </a:r>
                      <a:endParaRPr lang="tr-TR" sz="1400" b="1" i="0" u="none" strike="noStrike" dirty="0">
                        <a:solidFill>
                          <a:srgbClr val="00206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tr-TR" sz="2000" b="1" i="0" u="none" strike="noStrike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531442">
                <a:tc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dirty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Biten </a:t>
                      </a:r>
                      <a:r>
                        <a:rPr lang="tr-TR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Proje </a:t>
                      </a:r>
                      <a:r>
                        <a:rPr lang="tr-TR" sz="1400" b="1" u="none" strike="noStrike" dirty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S</a:t>
                      </a:r>
                      <a:r>
                        <a:rPr lang="tr-TR" sz="14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ayısı</a:t>
                      </a:r>
                      <a:endParaRPr lang="tr-TR" sz="1400" b="1" i="0" u="none" strike="noStrike" dirty="0">
                        <a:solidFill>
                          <a:srgbClr val="00206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tr-TR" sz="2000" b="1" i="0" u="none" strike="noStrike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531442">
                <a:tc>
                  <a:txBody>
                    <a:bodyPr/>
                    <a:lstStyle/>
                    <a:p>
                      <a:pPr algn="l" fontAlgn="t"/>
                      <a:r>
                        <a:rPr lang="tr-TR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r>
                        <a:rPr lang="tr-TR" sz="1400" b="1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Proje Sayısı</a:t>
                      </a:r>
                      <a:endParaRPr lang="tr-TR" sz="1400" b="1" i="0" u="none" strike="noStrike" dirty="0">
                        <a:solidFill>
                          <a:srgbClr val="00206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tr-TR" sz="2000" b="1" i="0" u="none" strike="noStrike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tr-TR" sz="2000" b="1" i="0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</a:tbl>
          </a:graphicData>
        </a:graphic>
      </p:graphicFrame>
      <p:sp>
        <p:nvSpPr>
          <p:cNvPr id="7" name="Yuvarlatılmış Dikdörtgen 6"/>
          <p:cNvSpPr/>
          <p:nvPr/>
        </p:nvSpPr>
        <p:spPr>
          <a:xfrm>
            <a:off x="1" y="44624"/>
            <a:ext cx="9144000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Yatırımcı Kuruluş Dönem Raporu</a:t>
            </a:r>
          </a:p>
        </p:txBody>
      </p:sp>
      <p:sp>
        <p:nvSpPr>
          <p:cNvPr id="2" name="Metin kutusu 1"/>
          <p:cNvSpPr txBox="1"/>
          <p:nvPr/>
        </p:nvSpPr>
        <p:spPr>
          <a:xfrm>
            <a:off x="8096320" y="201265"/>
            <a:ext cx="899592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 smtClean="0">
                <a:latin typeface="Garamond" panose="02020404030301010803" pitchFamily="18" charset="0"/>
              </a:rPr>
              <a:t>EK-1</a:t>
            </a:r>
            <a:endParaRPr lang="tr-TR" sz="1600" b="1" dirty="0">
              <a:latin typeface="Garamond" panose="02020404030301010803" pitchFamily="18" charset="0"/>
            </a:endParaRPr>
          </a:p>
        </p:txBody>
      </p:sp>
      <p:graphicFrame>
        <p:nvGraphicFramePr>
          <p:cNvPr id="13" name="Tablo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2887607"/>
              </p:ext>
            </p:extLst>
          </p:nvPr>
        </p:nvGraphicFramePr>
        <p:xfrm>
          <a:off x="39466" y="6165304"/>
          <a:ext cx="9065068" cy="3143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0650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7111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NOT:  </a:t>
                      </a:r>
                      <a:r>
                        <a:rPr lang="tr-TR" sz="1000" b="1" i="0" u="none" strike="noStrike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Sektör Adları için; </a:t>
                      </a:r>
                      <a:r>
                        <a:rPr lang="tr-TR" sz="1000" b="1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Tarım, Madencilik, İmalat, Ulaştırma, Turizm, Konut,  Eğitim, Sağlık, Enerji, Diğer Kamu Hizmetleri </a:t>
                      </a:r>
                      <a:r>
                        <a:rPr lang="tr-TR" sz="1000" b="1" i="0" u="none" strike="noStrike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kullanılacaktır. Kurumların görev alanlarına göre başlıklara sektör adlarını eklemeleri gerekmektedir.</a:t>
                      </a:r>
                      <a:endParaRPr lang="tr-TR" sz="75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7646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2" name="Tablo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4073165"/>
              </p:ext>
            </p:extLst>
          </p:nvPr>
        </p:nvGraphicFramePr>
        <p:xfrm>
          <a:off x="35497" y="5733256"/>
          <a:ext cx="9108503" cy="7334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1085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NOT: Bütçe</a:t>
                      </a:r>
                      <a:r>
                        <a:rPr lang="tr-TR" sz="1000" b="1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türü ve fiziki gerçekleşme için aşağıda belirtilen kısaltmaların kullanılması zorunludur.</a:t>
                      </a:r>
                      <a:endParaRPr lang="tr-TR" sz="1000" b="1" u="none" strike="noStrike" dirty="0" smtClean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  <a:p>
                      <a:pPr algn="l" fontAlgn="t"/>
                      <a:r>
                        <a:rPr lang="tr-TR" sz="10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Bütçe türü</a:t>
                      </a:r>
                      <a:r>
                        <a:rPr lang="tr-TR" sz="1000" b="1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için</a:t>
                      </a:r>
                      <a:r>
                        <a:rPr lang="tr-TR" sz="10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000" u="none" strike="noStrike" dirty="0" smtClean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: </a:t>
                      </a:r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GB (Genel bütçe),  ÖB (Özel bütçe), </a:t>
                      </a:r>
                      <a:r>
                        <a:rPr lang="tr-TR" sz="1000" u="none" strike="noStrike" dirty="0" smtClean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DS </a:t>
                      </a:r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(Döner sermaye),  SG (Sosyal güvenlik kurumu</a:t>
                      </a:r>
                      <a:r>
                        <a:rPr lang="tr-TR" sz="1000" u="none" strike="noStrike" dirty="0" smtClean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),KİT</a:t>
                      </a:r>
                      <a:r>
                        <a:rPr lang="tr-TR" sz="1000" u="none" strike="noStrike" baseline="0" dirty="0" smtClean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 İşletmeci </a:t>
                      </a:r>
                      <a:r>
                        <a:rPr lang="tr-TR" sz="1000" u="none" strike="noStrike" dirty="0" smtClean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(KT),  KİT Özelleştirme</a:t>
                      </a:r>
                      <a:r>
                        <a:rPr lang="tr-TR" sz="1000" u="none" strike="noStrike" baseline="0" dirty="0" smtClean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 kapsamında (ÖK), </a:t>
                      </a:r>
                      <a:r>
                        <a:rPr lang="tr-TR" sz="1000" u="none" strike="noStrike" dirty="0" smtClean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İB (İller Bankası), </a:t>
                      </a:r>
                      <a:r>
                        <a:rPr lang="tr-TR" sz="1000" u="none" strike="noStrike" baseline="0" dirty="0" smtClean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SUKAP (SU),</a:t>
                      </a:r>
                      <a:r>
                        <a:rPr lang="tr-TR" sz="1000" u="none" strike="noStrike" dirty="0" smtClean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Öİ </a:t>
                      </a:r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(İl Özel İdaresi),  BL (Belediyeler</a:t>
                      </a:r>
                      <a:r>
                        <a:rPr lang="tr-TR" sz="1000" u="none" strike="noStrike" dirty="0" smtClean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),</a:t>
                      </a:r>
                      <a:r>
                        <a:rPr lang="tr-TR" sz="1000" u="none" strike="noStrike" baseline="0" dirty="0" smtClean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İç Kredi(İÇ), Dış Kredi(DI), Hibe(Hİ),</a:t>
                      </a:r>
                      <a:endParaRPr lang="tr-TR" sz="1000" b="0" i="0" u="none" strike="noStrike" dirty="0" smtClean="0"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000" b="1" i="0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Açıklamalar için: </a:t>
                      </a:r>
                      <a:r>
                        <a:rPr lang="tr-TR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BT</a:t>
                      </a:r>
                      <a:r>
                        <a:rPr lang="tr-TR" sz="1000" b="0" i="0" u="none" strike="noStrike" dirty="0" smtClean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: Bitti,  DE: Devam ediyor,  YK: Yarım kaldı,  İA: İhale aşamasında,  HB: Hiç başlamadı.</a:t>
                      </a:r>
                    </a:p>
                    <a:p>
                      <a:pPr algn="l" fontAlgn="t"/>
                      <a:endParaRPr lang="tr-TR" sz="75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" name="Tablo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5228292"/>
              </p:ext>
            </p:extLst>
          </p:nvPr>
        </p:nvGraphicFramePr>
        <p:xfrm>
          <a:off x="35496" y="1052733"/>
          <a:ext cx="9000999" cy="4608517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3808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09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590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2457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723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5590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7869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7045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60307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09557">
                  <a:extLst>
                    <a:ext uri="{9D8B030D-6E8A-4147-A177-3AD203B41FA5}">
                      <a16:colId xmlns:a16="http://schemas.microsoft.com/office/drawing/2014/main" val="2055120577"/>
                    </a:ext>
                  </a:extLst>
                </a:gridCol>
                <a:gridCol w="82337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46827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576360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</a:tblGrid>
              <a:tr h="880093"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b="1" u="none" strike="noStrike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Sıra </a:t>
                      </a:r>
                      <a:r>
                        <a:rPr lang="tr-TR" sz="11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No</a:t>
                      </a:r>
                      <a:endParaRPr lang="tr-TR" sz="1100" b="1" i="0" u="none" strike="noStrike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Proje Adı</a:t>
                      </a:r>
                      <a:endParaRPr lang="tr-TR" sz="1100" b="1" i="0" u="none" strike="noStrike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Sektörü</a:t>
                      </a:r>
                      <a:endParaRPr lang="tr-TR" sz="1100" b="1" i="0" u="none" strike="noStrike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b="1" u="none" strike="noStrike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Bütçe </a:t>
                      </a:r>
                      <a:r>
                        <a:rPr lang="tr-TR" sz="11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Türü</a:t>
                      </a:r>
                      <a:endParaRPr lang="tr-TR" sz="1100" b="1" i="0" u="none" strike="noStrike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b="1" u="none" strike="noStrike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Proje </a:t>
                      </a:r>
                      <a:r>
                        <a:rPr lang="tr-TR" sz="11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Yeri </a:t>
                      </a:r>
                      <a:r>
                        <a:rPr lang="tr-TR" sz="1100" b="1" u="none" strike="noStrike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(İlçe)</a:t>
                      </a:r>
                      <a:endParaRPr lang="tr-TR" sz="1100" b="1" i="0" u="none" strike="noStrike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b="1" u="none" strike="noStrike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Başlama </a:t>
                      </a:r>
                      <a:r>
                        <a:rPr lang="tr-TR" sz="11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Tarihi</a:t>
                      </a:r>
                      <a:endParaRPr lang="tr-TR" sz="1100" b="1" i="0" u="none" strike="noStrike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b="1" u="none" strike="noStrike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Bitiş </a:t>
                      </a:r>
                      <a:r>
                        <a:rPr lang="tr-TR" sz="11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Tarihi</a:t>
                      </a:r>
                      <a:endParaRPr lang="tr-TR" sz="1100" b="1" i="0" u="none" strike="noStrike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b="1" u="none" strike="noStrike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Proje tutarı (TL)</a:t>
                      </a:r>
                      <a:endParaRPr lang="tr-TR" sz="1100" b="1" i="0" u="none" strike="noStrike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b="1" u="none" strike="noStrike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Önceki </a:t>
                      </a:r>
                      <a:r>
                        <a:rPr lang="tr-TR" sz="11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Yıllar </a:t>
                      </a:r>
                      <a:r>
                        <a:rPr lang="tr-TR" sz="1100" b="1" u="none" strike="noStrike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H</a:t>
                      </a:r>
                      <a:r>
                        <a:rPr lang="tr-TR" sz="11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arcamaları </a:t>
                      </a:r>
                      <a:r>
                        <a:rPr lang="tr-TR" sz="1100" b="1" u="none" strike="noStrike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(TL)</a:t>
                      </a:r>
                      <a:endParaRPr lang="tr-TR" sz="1100" b="1" i="0" u="none" strike="noStrike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2019 Yılı </a:t>
                      </a:r>
                      <a:r>
                        <a:rPr lang="tr-TR" sz="1100" b="1" u="none" strike="noStrike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Ö</a:t>
                      </a:r>
                      <a:r>
                        <a:rPr lang="tr-TR" sz="11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deneği </a:t>
                      </a:r>
                      <a:r>
                        <a:rPr lang="tr-TR" sz="1100" b="1" u="none" strike="noStrike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(TL)</a:t>
                      </a:r>
                      <a:endParaRPr lang="tr-TR" sz="1100" b="1" i="0" u="none" strike="noStrike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2019 </a:t>
                      </a:r>
                      <a:r>
                        <a:rPr lang="tr-TR" sz="1100" b="1" u="none" strike="noStrike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Y</a:t>
                      </a:r>
                      <a:r>
                        <a:rPr lang="tr-TR" sz="11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ılı </a:t>
                      </a:r>
                      <a:r>
                        <a:rPr lang="tr-TR" sz="1100" b="1" u="none" strike="noStrike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H</a:t>
                      </a:r>
                      <a:r>
                        <a:rPr lang="tr-TR" sz="11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arcamaları </a:t>
                      </a:r>
                      <a:r>
                        <a:rPr lang="tr-TR" sz="1100" b="1" u="none" strike="noStrike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(TL)</a:t>
                      </a:r>
                      <a:endParaRPr lang="tr-TR" sz="1100" b="1" i="0" u="none" strike="noStrike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b="1" u="none" strike="noStrike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Nakdi </a:t>
                      </a:r>
                      <a:r>
                        <a:rPr lang="tr-TR" sz="11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Gerçekleşme </a:t>
                      </a:r>
                      <a:r>
                        <a:rPr lang="tr-TR" sz="1100" b="1" u="none" strike="noStrike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(%)</a:t>
                      </a:r>
                      <a:endParaRPr lang="tr-TR" sz="1100" b="1" i="0" u="none" strike="noStrike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tr-TR" sz="11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</a:rPr>
                        <a:t>Açıklama</a:t>
                      </a:r>
                      <a:endParaRPr lang="tr-TR" sz="1100" b="1" i="0" u="none" strike="noStrike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2632"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200" b="1" u="none" strike="noStrike" dirty="0">
                          <a:effectLst/>
                          <a:latin typeface="Garamond" panose="02020404030301010803" pitchFamily="18" charset="0"/>
                        </a:rPr>
                        <a:t>1</a:t>
                      </a:r>
                      <a:endParaRPr lang="tr-TR" sz="12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2632"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200" b="1" u="none" strike="noStrike" dirty="0">
                          <a:effectLst/>
                          <a:latin typeface="Garamond" panose="02020404030301010803" pitchFamily="18" charset="0"/>
                        </a:rPr>
                        <a:t>2</a:t>
                      </a:r>
                      <a:endParaRPr lang="tr-TR" sz="12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u="none" strike="noStrike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2632"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200" b="1" u="none" strike="noStrike" dirty="0">
                          <a:effectLst/>
                          <a:latin typeface="Garamond" panose="02020404030301010803" pitchFamily="18" charset="0"/>
                        </a:rPr>
                        <a:t>3</a:t>
                      </a:r>
                      <a:endParaRPr lang="tr-TR" sz="12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2632"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200" b="1" u="none" strike="noStrike" dirty="0">
                          <a:effectLst/>
                          <a:latin typeface="Garamond" panose="02020404030301010803" pitchFamily="18" charset="0"/>
                        </a:rPr>
                        <a:t>4</a:t>
                      </a:r>
                      <a:endParaRPr lang="tr-TR" sz="12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32632"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200" b="1" u="none" strike="noStrike" dirty="0">
                          <a:effectLst/>
                          <a:latin typeface="Garamond" panose="02020404030301010803" pitchFamily="18" charset="0"/>
                        </a:rPr>
                        <a:t>5</a:t>
                      </a:r>
                      <a:endParaRPr lang="tr-TR" sz="12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32632"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200" b="1" u="none" strike="noStrike" dirty="0" smtClean="0">
                          <a:effectLst/>
                          <a:latin typeface="Garamond" panose="02020404030301010803" pitchFamily="18" charset="0"/>
                        </a:rPr>
                        <a:t>…</a:t>
                      </a:r>
                      <a:endParaRPr lang="tr-TR" sz="12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32632"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l" rtl="0" fontAlgn="ctr"/>
                      <a:r>
                        <a:rPr lang="tr-TR" sz="1000" u="none" strike="noStrike" dirty="0" smtClean="0">
                          <a:effectLst/>
                          <a:latin typeface="Garamond" panose="02020404030301010803" pitchFamily="18" charset="0"/>
                        </a:rPr>
                        <a:t>  </a:t>
                      </a:r>
                      <a:r>
                        <a:rPr lang="tr-TR" sz="1200" b="1" u="none" strike="noStrike" dirty="0" smtClean="0">
                          <a:effectLst/>
                          <a:latin typeface="Garamond" panose="02020404030301010803" pitchFamily="18" charset="0"/>
                        </a:rPr>
                        <a:t>TOPLAM</a:t>
                      </a:r>
                      <a:endParaRPr lang="tr-TR" sz="1200" b="1" i="0" u="none" strike="noStrike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tr-TR" sz="1000" u="none" strike="noStrike" dirty="0">
                          <a:effectLst/>
                          <a:latin typeface="Garamond" panose="02020404030301010803" pitchFamily="18" charset="0"/>
                        </a:rPr>
                        <a:t> </a:t>
                      </a:r>
                      <a:endParaRPr lang="tr-TR" sz="1000" b="1" i="0" u="none" strike="noStrike" dirty="0">
                        <a:solidFill>
                          <a:srgbClr val="000000"/>
                        </a:solidFill>
                        <a:effectLst/>
                        <a:latin typeface="Garamond" panose="02020404030301010803" pitchFamily="18" charset="0"/>
                        <a:cs typeface="Segoe UI Semibold" panose="020B0702040204020203" pitchFamily="34" charset="0"/>
                      </a:endParaRP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3" name="Yuvarlatılmış Dikdörtgen 12"/>
          <p:cNvSpPr/>
          <p:nvPr/>
        </p:nvSpPr>
        <p:spPr>
          <a:xfrm>
            <a:off x="0" y="47843"/>
            <a:ext cx="9143999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Yatırım Projeleri İzleme Raporu</a:t>
            </a:r>
          </a:p>
          <a:p>
            <a:pPr lvl="0"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(Dönem Sonu İtibariyle)</a:t>
            </a:r>
          </a:p>
        </p:txBody>
      </p:sp>
      <p:sp>
        <p:nvSpPr>
          <p:cNvPr id="14" name="Metin kutusu 13"/>
          <p:cNvSpPr txBox="1"/>
          <p:nvPr/>
        </p:nvSpPr>
        <p:spPr>
          <a:xfrm>
            <a:off x="8137225" y="233440"/>
            <a:ext cx="899592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 smtClean="0">
                <a:latin typeface="Garamond" panose="02020404030301010803" pitchFamily="18" charset="0"/>
              </a:rPr>
              <a:t>EK-2</a:t>
            </a:r>
            <a:endParaRPr lang="tr-TR" sz="1600" b="1" dirty="0"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7766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Tablo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5341930"/>
              </p:ext>
            </p:extLst>
          </p:nvPr>
        </p:nvGraphicFramePr>
        <p:xfrm>
          <a:off x="107504" y="854955"/>
          <a:ext cx="4320480" cy="5288884"/>
        </p:xfrm>
        <a:graphic>
          <a:graphicData uri="http://schemas.openxmlformats.org/drawingml/2006/table">
            <a:tbl>
              <a:tblPr>
                <a:tableStyleId>{D7AC3CCA-C797-4891-BE02-D94E43425B78}</a:tableStyleId>
              </a:tblPr>
              <a:tblGrid>
                <a:gridCol w="20882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22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2804"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b="1" u="none" strike="noStrike" dirty="0">
                          <a:effectLst/>
                          <a:latin typeface="Garamond" panose="02020404030301010803" pitchFamily="18" charset="0"/>
                        </a:rPr>
                        <a:t>Proje Adı</a:t>
                      </a:r>
                      <a:endParaRPr lang="tr-TR" sz="1200" b="1" i="0" u="none" strike="noStrike" dirty="0">
                        <a:effectLst/>
                        <a:latin typeface="Garamond" panose="02020404030301010803" pitchFamily="18" charset="0"/>
                      </a:endParaRPr>
                    </a:p>
                  </a:txBody>
                  <a:tcPr marL="36000" marR="9525" marT="72000" marB="3600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tr-TR" sz="1400" b="1" i="0" u="none" strike="noStrike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</a:endParaRPr>
                    </a:p>
                  </a:txBody>
                  <a:tcPr marL="36000" marR="9525" marT="72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2804"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b="1" u="none" strike="noStrike" dirty="0" smtClean="0">
                          <a:effectLst/>
                          <a:latin typeface="Garamond" panose="02020404030301010803" pitchFamily="18" charset="0"/>
                        </a:rPr>
                        <a:t>Sektörü</a:t>
                      </a:r>
                      <a:r>
                        <a:rPr lang="tr-TR" sz="1200" b="1" u="none" strike="noStrike" baseline="0" dirty="0" smtClean="0">
                          <a:effectLst/>
                          <a:latin typeface="Garamond" panose="02020404030301010803" pitchFamily="18" charset="0"/>
                        </a:rPr>
                        <a:t> ve Alt Sektörü</a:t>
                      </a:r>
                      <a:endParaRPr lang="tr-TR" sz="1200" b="1" i="0" u="none" strike="noStrike" dirty="0">
                        <a:effectLst/>
                        <a:latin typeface="Garamond" panose="02020404030301010803" pitchFamily="18" charset="0"/>
                      </a:endParaRPr>
                    </a:p>
                  </a:txBody>
                  <a:tcPr marL="36000" marR="9525" marT="72000" marB="3600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tr-TR" sz="1400" b="1" i="0" u="none" strike="noStrike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</a:endParaRPr>
                    </a:p>
                  </a:txBody>
                  <a:tcPr marL="36000" marR="9525" marT="72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2804"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b="1" u="none" strike="noStrike" dirty="0">
                          <a:effectLst/>
                          <a:latin typeface="Garamond" panose="02020404030301010803" pitchFamily="18" charset="0"/>
                        </a:rPr>
                        <a:t>Proje </a:t>
                      </a:r>
                      <a:r>
                        <a:rPr lang="tr-TR" sz="1200" b="1" u="none" strike="noStrike" dirty="0" smtClean="0">
                          <a:effectLst/>
                          <a:latin typeface="Garamond" panose="02020404030301010803" pitchFamily="18" charset="0"/>
                        </a:rPr>
                        <a:t>Yeri (</a:t>
                      </a:r>
                      <a:r>
                        <a:rPr lang="tr-TR" sz="1200" b="1" u="none" strike="noStrike" dirty="0">
                          <a:effectLst/>
                          <a:latin typeface="Garamond" panose="02020404030301010803" pitchFamily="18" charset="0"/>
                        </a:rPr>
                        <a:t>İlçe)</a:t>
                      </a:r>
                      <a:endParaRPr lang="tr-TR" sz="1200" b="1" i="0" u="none" strike="noStrike" dirty="0">
                        <a:effectLst/>
                        <a:latin typeface="Garamond" panose="02020404030301010803" pitchFamily="18" charset="0"/>
                      </a:endParaRPr>
                    </a:p>
                  </a:txBody>
                  <a:tcPr marL="36000" marR="9525" marT="72000" marB="3600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tr-TR" sz="1400" b="1" i="0" u="none" strike="noStrike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</a:endParaRPr>
                    </a:p>
                  </a:txBody>
                  <a:tcPr marL="36000" marR="9525" marT="72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2804"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b="1" u="none" strike="noStrike" dirty="0">
                          <a:effectLst/>
                          <a:latin typeface="Garamond" panose="02020404030301010803" pitchFamily="18" charset="0"/>
                        </a:rPr>
                        <a:t>Başlama - Bitiş Tarihi</a:t>
                      </a:r>
                      <a:endParaRPr lang="tr-TR" sz="1200" b="1" i="0" u="none" strike="noStrike" dirty="0">
                        <a:effectLst/>
                        <a:latin typeface="Garamond" panose="02020404030301010803" pitchFamily="18" charset="0"/>
                      </a:endParaRPr>
                    </a:p>
                  </a:txBody>
                  <a:tcPr marL="36000" marR="9525" marT="72000" marB="3600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tr-TR" sz="1400" b="1" i="0" u="none" strike="noStrike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</a:endParaRPr>
                    </a:p>
                  </a:txBody>
                  <a:tcPr marL="36000" marR="9525" marT="72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2804"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b="1" u="none" strike="noStrike" dirty="0">
                          <a:effectLst/>
                          <a:latin typeface="Garamond" panose="02020404030301010803" pitchFamily="18" charset="0"/>
                        </a:rPr>
                        <a:t>Proje </a:t>
                      </a:r>
                      <a:r>
                        <a:rPr lang="tr-TR" sz="1200" b="1" u="none" strike="noStrike" dirty="0" smtClean="0">
                          <a:effectLst/>
                          <a:latin typeface="Garamond" panose="02020404030301010803" pitchFamily="18" charset="0"/>
                        </a:rPr>
                        <a:t>Bedeli (</a:t>
                      </a:r>
                      <a:r>
                        <a:rPr lang="tr-TR" sz="1200" b="1" u="none" strike="noStrike" dirty="0">
                          <a:effectLst/>
                          <a:latin typeface="Garamond" panose="02020404030301010803" pitchFamily="18" charset="0"/>
                        </a:rPr>
                        <a:t>TL)</a:t>
                      </a:r>
                      <a:endParaRPr lang="tr-TR" sz="1200" b="1" i="0" u="none" strike="noStrike" dirty="0">
                        <a:effectLst/>
                        <a:latin typeface="Garamond" panose="02020404030301010803" pitchFamily="18" charset="0"/>
                      </a:endParaRPr>
                    </a:p>
                  </a:txBody>
                  <a:tcPr marL="36000" marR="9525" marT="72000" marB="3600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tr-TR" sz="1400" b="1" i="0" u="none" strike="noStrike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</a:endParaRPr>
                    </a:p>
                  </a:txBody>
                  <a:tcPr marL="36000" marR="9525" marT="72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2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200" b="1" u="none" strike="noStrike" kern="1200" dirty="0">
                          <a:effectLst/>
                          <a:latin typeface="Garamond" panose="02020404030301010803" pitchFamily="18" charset="0"/>
                        </a:rPr>
                        <a:t>Önceki Yıllar </a:t>
                      </a:r>
                      <a:r>
                        <a:rPr lang="tr-TR" sz="1200" b="1" u="none" strike="noStrike" kern="1200" dirty="0" smtClean="0">
                          <a:effectLst/>
                          <a:latin typeface="Garamond" panose="02020404030301010803" pitchFamily="18" charset="0"/>
                        </a:rPr>
                        <a:t>Harcamaları </a:t>
                      </a:r>
                      <a:r>
                        <a:rPr lang="tr-TR" sz="1100" b="1" u="none" strike="noStrike" kern="1200" dirty="0" smtClean="0">
                          <a:effectLst/>
                          <a:latin typeface="Garamond" panose="02020404030301010803" pitchFamily="18" charset="0"/>
                        </a:rPr>
                        <a:t>(</a:t>
                      </a:r>
                      <a:r>
                        <a:rPr lang="tr-TR" sz="1100" b="1" u="none" strike="noStrike" kern="1200" dirty="0">
                          <a:effectLst/>
                          <a:latin typeface="Garamond" panose="02020404030301010803" pitchFamily="18" charset="0"/>
                        </a:rPr>
                        <a:t>TL)</a:t>
                      </a:r>
                      <a:endParaRPr lang="tr-TR" sz="1100" b="1" u="none" strike="noStrike" kern="1200" dirty="0">
                        <a:solidFill>
                          <a:schemeClr val="dk1"/>
                        </a:solidFill>
                        <a:effectLst/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</a:txBody>
                  <a:tcPr marL="36000" marR="9525" marT="72000" marB="3600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400" b="1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</a:txBody>
                  <a:tcPr marL="36000" marR="9525" marT="72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2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200" b="1" u="none" strike="noStrike" kern="1200" dirty="0" smtClean="0">
                          <a:effectLst/>
                          <a:latin typeface="Garamond" panose="02020404030301010803" pitchFamily="18" charset="0"/>
                        </a:rPr>
                        <a:t>2019 </a:t>
                      </a:r>
                      <a:r>
                        <a:rPr lang="tr-TR" sz="1200" b="1" u="none" strike="noStrike" kern="1200" dirty="0" smtClean="0">
                          <a:effectLst/>
                          <a:latin typeface="Garamond" panose="02020404030301010803" pitchFamily="18" charset="0"/>
                        </a:rPr>
                        <a:t>Yıl İçi Harcama (TL)</a:t>
                      </a:r>
                      <a:endParaRPr lang="tr-TR" sz="1200" b="1" u="none" strike="noStrike" kern="1200" dirty="0">
                        <a:solidFill>
                          <a:schemeClr val="dk1"/>
                        </a:solidFill>
                        <a:effectLst/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</a:txBody>
                  <a:tcPr marL="36000" marR="9525" marT="72000" marB="3600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400" b="1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</a:txBody>
                  <a:tcPr marL="36000" marR="9525" marT="72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22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200" b="1" u="none" strike="noStrike" kern="1200" dirty="0" smtClean="0">
                          <a:effectLst/>
                          <a:latin typeface="Garamond" panose="02020404030301010803" pitchFamily="18" charset="0"/>
                        </a:rPr>
                        <a:t>2019Yılı </a:t>
                      </a:r>
                      <a:r>
                        <a:rPr lang="tr-TR" sz="1200" b="1" u="none" strike="noStrike" kern="1200" dirty="0" smtClean="0">
                          <a:effectLst/>
                          <a:latin typeface="Garamond" panose="02020404030301010803" pitchFamily="18" charset="0"/>
                        </a:rPr>
                        <a:t>Ödeneği (</a:t>
                      </a:r>
                      <a:r>
                        <a:rPr lang="tr-TR" sz="1200" b="1" u="none" strike="noStrike" kern="1200" dirty="0">
                          <a:effectLst/>
                          <a:latin typeface="Garamond" panose="02020404030301010803" pitchFamily="18" charset="0"/>
                        </a:rPr>
                        <a:t>TL)</a:t>
                      </a:r>
                      <a:endParaRPr lang="tr-TR" sz="1200" b="1" u="none" strike="noStrike" kern="1200" dirty="0">
                        <a:solidFill>
                          <a:schemeClr val="dk1"/>
                        </a:solidFill>
                        <a:effectLst/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</a:txBody>
                  <a:tcPr marL="36000" marR="9525" marT="72000" marB="3600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400" b="1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</a:txBody>
                  <a:tcPr marL="36000" marR="9525" marT="72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22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200" b="1" u="none" strike="noStrike" kern="1200" dirty="0">
                          <a:effectLst/>
                          <a:latin typeface="Garamond" panose="02020404030301010803" pitchFamily="18" charset="0"/>
                        </a:rPr>
                        <a:t>Nakdi </a:t>
                      </a:r>
                      <a:r>
                        <a:rPr lang="tr-TR" sz="1200" b="1" u="none" strike="noStrike" kern="1200" dirty="0" smtClean="0">
                          <a:effectLst/>
                          <a:latin typeface="Garamond" panose="02020404030301010803" pitchFamily="18" charset="0"/>
                        </a:rPr>
                        <a:t>Gerçekleşme (%)</a:t>
                      </a:r>
                      <a:endParaRPr lang="tr-TR" sz="1200" b="1" u="none" strike="noStrike" kern="1200" dirty="0">
                        <a:solidFill>
                          <a:schemeClr val="dk1"/>
                        </a:solidFill>
                        <a:effectLst/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</a:txBody>
                  <a:tcPr marL="36000" marR="9525" marT="72000" marB="3600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400" b="1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</a:txBody>
                  <a:tcPr marL="36000" marR="9525" marT="72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22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200" b="1" u="none" strike="noStrike" kern="1200" dirty="0">
                          <a:effectLst/>
                          <a:latin typeface="Garamond" panose="02020404030301010803" pitchFamily="18" charset="0"/>
                        </a:rPr>
                        <a:t>Fiziki </a:t>
                      </a:r>
                      <a:r>
                        <a:rPr lang="tr-TR" sz="1200" b="1" u="none" strike="noStrike" kern="1200" dirty="0" smtClean="0">
                          <a:effectLst/>
                          <a:latin typeface="Garamond" panose="02020404030301010803" pitchFamily="18" charset="0"/>
                        </a:rPr>
                        <a:t>Gerçekleşme (%)</a:t>
                      </a:r>
                      <a:endParaRPr lang="tr-TR" sz="1200" b="1" u="none" strike="noStrike" kern="1200" dirty="0">
                        <a:solidFill>
                          <a:schemeClr val="dk1"/>
                        </a:solidFill>
                        <a:effectLst/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</a:txBody>
                  <a:tcPr marL="36000" marR="9525" marT="72000" marB="3600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400" b="1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</a:txBody>
                  <a:tcPr marL="36000" marR="9525" marT="72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2280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200" b="1" u="none" strike="noStrike" kern="1200" dirty="0">
                          <a:effectLst/>
                          <a:latin typeface="Garamond" panose="02020404030301010803" pitchFamily="18" charset="0"/>
                        </a:rPr>
                        <a:t>Projenin Bugünkü </a:t>
                      </a:r>
                      <a:r>
                        <a:rPr lang="tr-TR" sz="1200" b="1" u="none" strike="noStrike" kern="1200" dirty="0" smtClean="0">
                          <a:effectLst/>
                          <a:latin typeface="Garamond" panose="02020404030301010803" pitchFamily="18" charset="0"/>
                        </a:rPr>
                        <a:t>Durumu</a:t>
                      </a:r>
                      <a:endParaRPr lang="tr-TR" sz="1200" b="1" u="none" strike="noStrike" kern="1200" dirty="0">
                        <a:solidFill>
                          <a:schemeClr val="dk1"/>
                        </a:solidFill>
                        <a:effectLst/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</a:txBody>
                  <a:tcPr marL="36000" marR="9525" marT="72000" marB="3600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400" b="1" u="none" strike="noStrike" kern="1200" dirty="0">
                        <a:solidFill>
                          <a:schemeClr val="tx1"/>
                        </a:solidFill>
                        <a:effectLst/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</a:txBody>
                  <a:tcPr marL="36000" marR="9525" marT="72000" marB="36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80348"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tr-TR" sz="1200" b="1" u="none" strike="noStrike" kern="1200" dirty="0" smtClean="0">
                          <a:effectLst/>
                          <a:latin typeface="Garamond" panose="02020404030301010803" pitchFamily="18" charset="0"/>
                        </a:rPr>
                        <a:t>Proje</a:t>
                      </a:r>
                      <a:r>
                        <a:rPr lang="tr-TR" sz="1200" b="1" u="none" strike="noStrike" kern="1200" baseline="0" dirty="0" smtClean="0">
                          <a:effectLst/>
                          <a:latin typeface="Garamond" panose="02020404030301010803" pitchFamily="18" charset="0"/>
                        </a:rPr>
                        <a:t> Özet Bilgisi</a:t>
                      </a:r>
                      <a:endParaRPr lang="tr-TR" sz="1200" b="1" u="none" strike="noStrike" kern="1200" dirty="0">
                        <a:solidFill>
                          <a:schemeClr val="dk1"/>
                        </a:solidFill>
                        <a:effectLst/>
                        <a:latin typeface="Garamond" panose="02020404030301010803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457692">
                <a:tc gridSpan="2">
                  <a:txBody>
                    <a:bodyPr/>
                    <a:lstStyle/>
                    <a:p>
                      <a:pPr algn="ctr" fontAlgn="b"/>
                      <a:endParaRPr lang="tr-TR" sz="1400" b="1" i="0" u="none" strike="noStrike" dirty="0">
                        <a:effectLst/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7" name="Tablo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814536"/>
              </p:ext>
            </p:extLst>
          </p:nvPr>
        </p:nvGraphicFramePr>
        <p:xfrm>
          <a:off x="4618484" y="854955"/>
          <a:ext cx="4320480" cy="5288884"/>
        </p:xfrm>
        <a:graphic>
          <a:graphicData uri="http://schemas.openxmlformats.org/drawingml/2006/table">
            <a:tbl>
              <a:tblPr>
                <a:tableStyleId>{D7AC3CCA-C797-4891-BE02-D94E43425B78}</a:tableStyleId>
              </a:tblPr>
              <a:tblGrid>
                <a:gridCol w="4320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532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35668">
                <a:tc>
                  <a:txBody>
                    <a:bodyPr/>
                    <a:lstStyle/>
                    <a:p>
                      <a:pPr algn="ctr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5266556" y="1988840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 smtClean="0">
                <a:solidFill>
                  <a:schemeClr val="bg1"/>
                </a:solidFill>
              </a:rPr>
              <a:t>PROJEYE AİT GÖRSEL UNSUR EKLEYİNİZ</a:t>
            </a:r>
            <a:endParaRPr lang="tr-TR" sz="1600" dirty="0">
              <a:solidFill>
                <a:schemeClr val="bg1"/>
              </a:solidFill>
            </a:endParaRPr>
          </a:p>
        </p:txBody>
      </p:sp>
      <p:graphicFrame>
        <p:nvGraphicFramePr>
          <p:cNvPr id="20" name="Tablo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5827641"/>
              </p:ext>
            </p:extLst>
          </p:nvPr>
        </p:nvGraphicFramePr>
        <p:xfrm>
          <a:off x="107504" y="6237312"/>
          <a:ext cx="8831460" cy="1997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314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9760"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UYARI: BU SLAYTI</a:t>
                      </a:r>
                      <a:r>
                        <a:rPr lang="tr-TR" sz="1000" b="1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HER BİR PROJE İÇİN ÇOĞALTINIZ.</a:t>
                      </a:r>
                      <a:endParaRPr lang="tr-TR" sz="750" b="0" i="0" u="none" strike="noStrike" dirty="0">
                        <a:solidFill>
                          <a:srgbClr val="FF0000"/>
                        </a:solidFill>
                        <a:effectLst/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6" name="Yuvarlatılmış Dikdörtgen 15"/>
          <p:cNvSpPr/>
          <p:nvPr/>
        </p:nvSpPr>
        <p:spPr>
          <a:xfrm>
            <a:off x="1" y="44624"/>
            <a:ext cx="9134474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Projeler İtibariyle Bilgi , Açıklama ve Görseller</a:t>
            </a:r>
          </a:p>
        </p:txBody>
      </p:sp>
      <p:sp>
        <p:nvSpPr>
          <p:cNvPr id="18" name="Metin kutusu 17"/>
          <p:cNvSpPr txBox="1"/>
          <p:nvPr/>
        </p:nvSpPr>
        <p:spPr>
          <a:xfrm>
            <a:off x="8039372" y="218388"/>
            <a:ext cx="899592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 smtClean="0">
                <a:latin typeface="Garamond" panose="02020404030301010803" pitchFamily="18" charset="0"/>
              </a:rPr>
              <a:t>EK-3</a:t>
            </a:r>
            <a:endParaRPr lang="tr-TR" b="1" dirty="0">
              <a:latin typeface="Garamond" panose="02020404030301010803" pitchFamily="18" charset="0"/>
            </a:endParaRPr>
          </a:p>
        </p:txBody>
      </p:sp>
      <p:sp>
        <p:nvSpPr>
          <p:cNvPr id="19" name="Metin kutusu 18"/>
          <p:cNvSpPr txBox="1"/>
          <p:nvPr/>
        </p:nvSpPr>
        <p:spPr>
          <a:xfrm>
            <a:off x="5266556" y="4581128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 smtClean="0">
                <a:solidFill>
                  <a:schemeClr val="bg1"/>
                </a:solidFill>
              </a:rPr>
              <a:t>PROJEYE AİT GÖRSEL UNSUR EKLEYİNİZ</a:t>
            </a:r>
            <a:endParaRPr lang="tr-TR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893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35496" y="165721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43163" y="328717"/>
            <a:ext cx="5976664" cy="429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877888">
              <a:lnSpc>
                <a:spcPct val="115000"/>
              </a:lnSpc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Garamond" panose="02020404030301010803" pitchFamily="18" charset="0"/>
                <a:cs typeface="Segoe UI Semibold" panose="020B0702040204020203" pitchFamily="34" charset="0"/>
              </a:rPr>
              <a:t>Sektörler ve Alt Sektörleri</a:t>
            </a:r>
          </a:p>
        </p:txBody>
      </p:sp>
      <p:graphicFrame>
        <p:nvGraphicFramePr>
          <p:cNvPr id="13" name="12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5516239"/>
              </p:ext>
            </p:extLst>
          </p:nvPr>
        </p:nvGraphicFramePr>
        <p:xfrm>
          <a:off x="428596" y="1071546"/>
          <a:ext cx="2415212" cy="531814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895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256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u="none" strike="noStrike" dirty="0" smtClean="0">
                          <a:solidFill>
                            <a:srgbClr val="FF0000"/>
                          </a:solidFill>
                          <a:latin typeface="Garamond" panose="02020404030301010803" pitchFamily="18" charset="0"/>
                        </a:rPr>
                        <a:t>1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 smtClean="0">
                          <a:solidFill>
                            <a:srgbClr val="FF0000"/>
                          </a:solidFill>
                          <a:latin typeface="Garamond" panose="02020404030301010803" pitchFamily="18" charset="0"/>
                        </a:rPr>
                        <a:t> Tarım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Sulam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Bitkisel Ürü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Hayv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Su Ürün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Orm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Garamond" panose="02020404030301010803" pitchFamily="18" charset="0"/>
                        </a:rPr>
                        <a:t>2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 smtClean="0">
                          <a:solidFill>
                            <a:srgbClr val="FF0000"/>
                          </a:solidFill>
                          <a:latin typeface="Garamond" panose="02020404030301010803" pitchFamily="18" charset="0"/>
                        </a:rPr>
                        <a:t> Madencilik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Madenci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Kömü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Ham Petrol ve Tabii Gaz Üretim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Metal Dışı Made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Garamond" panose="02020404030301010803" pitchFamily="18" charset="0"/>
                        </a:rPr>
                        <a:t>3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 smtClean="0">
                          <a:solidFill>
                            <a:srgbClr val="FF0000"/>
                          </a:solidFill>
                          <a:latin typeface="Garamond" panose="02020404030301010803" pitchFamily="18" charset="0"/>
                        </a:rPr>
                        <a:t> İmalat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Gıd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Tütün ve </a:t>
                      </a:r>
                      <a:r>
                        <a:rPr lang="tr-TR" sz="900" u="none" strike="noStrike" dirty="0" smtClean="0">
                          <a:latin typeface="Garamond" panose="02020404030301010803" pitchFamily="18" charset="0"/>
                        </a:rPr>
                        <a:t>Mamul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Dokuma ve Giyim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Basım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Kimy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Demir-Çe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Elektriksiz Makine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Elektrikli Makin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Demiryolu Taşıt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Standardizasyon ve Kalit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Garamond" panose="02020404030301010803" pitchFamily="18" charset="0"/>
                        </a:rPr>
                        <a:t>4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 smtClean="0">
                          <a:solidFill>
                            <a:srgbClr val="FF0000"/>
                          </a:solidFill>
                          <a:latin typeface="Garamond" panose="02020404030301010803" pitchFamily="18" charset="0"/>
                        </a:rPr>
                        <a:t>  Enerji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Termik 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 smtClean="0">
                          <a:latin typeface="Garamond" panose="02020404030301010803" pitchFamily="18" charset="0"/>
                        </a:rPr>
                        <a:t>Hidroelektrik </a:t>
                      </a:r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İleti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Dağıtı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Şehir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Köy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Garamond" panose="02020404030301010803" pitchFamily="18" charset="0"/>
                        </a:rPr>
                        <a:t>İşletme Grubu Yatırımları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Garamond" panose="02020404030301010803" pitchFamily="18" charset="0"/>
                        </a:rPr>
                        <a:t>Makine ve Techizat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Garamond" panose="02020404030301010803" pitchFamily="18" charset="0"/>
                        </a:rPr>
                        <a:t>Çeşitli Etütler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Garamond" panose="02020404030301010803" pitchFamily="18" charset="0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3"/>
                  </a:ext>
                </a:extLst>
              </a:tr>
            </a:tbl>
          </a:graphicData>
        </a:graphic>
      </p:graphicFrame>
      <p:graphicFrame>
        <p:nvGraphicFramePr>
          <p:cNvPr id="15" name="14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5395173"/>
              </p:ext>
            </p:extLst>
          </p:nvPr>
        </p:nvGraphicFramePr>
        <p:xfrm>
          <a:off x="3059832" y="1071547"/>
          <a:ext cx="2664296" cy="5318142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4004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638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7231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Garamond" panose="02020404030301010803" pitchFamily="18" charset="0"/>
                        </a:rPr>
                        <a:t>5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Garamond" panose="02020404030301010803" pitchFamily="18" charset="0"/>
                        </a:rPr>
                        <a:t> Ulaştırma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7231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Demir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7231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Deniz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7231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Hav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7231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Kar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7231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Boru Hatt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7231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 smtClean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Kent İçi </a:t>
                      </a:r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Ulaşı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7231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Habe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7231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Radyo Televiz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7231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Otoyol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7231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Garamond" panose="02020404030301010803" pitchFamily="18" charset="0"/>
                        </a:rPr>
                        <a:t>6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Garamond" panose="02020404030301010803" pitchFamily="18" charset="0"/>
                        </a:rPr>
                        <a:t>Turizm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7231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Turiz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4327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Garamond" panose="02020404030301010803" pitchFamily="18" charset="0"/>
                        </a:rPr>
                        <a:t>7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 smtClean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 </a:t>
                      </a:r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Garamond" panose="02020404030301010803" pitchFamily="18" charset="0"/>
                        </a:rPr>
                        <a:t>Konut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7231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Konut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7231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Garamond" panose="02020404030301010803" pitchFamily="18" charset="0"/>
                        </a:rPr>
                        <a:t>8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 smtClean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 </a:t>
                      </a:r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Garamond" panose="02020404030301010803" pitchFamily="18" charset="0"/>
                        </a:rPr>
                        <a:t>Eğitim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7231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İlköğretim ve Gen. Orta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7231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Mesleki ve Teknik Eği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7231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Yüksek 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7231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Kültü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67231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Gençlik ve Beden Eğitimi Spo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67231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Garamond" panose="02020404030301010803" pitchFamily="18" charset="0"/>
                        </a:rPr>
                        <a:t>9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 smtClean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 </a:t>
                      </a:r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Garamond" panose="02020404030301010803" pitchFamily="18" charset="0"/>
                        </a:rPr>
                        <a:t>Sağlık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67231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Sağlık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621964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</a:tbl>
          </a:graphicData>
        </a:graphic>
      </p:graphicFrame>
      <p:graphicFrame>
        <p:nvGraphicFramePr>
          <p:cNvPr id="16" name="15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7130475"/>
              </p:ext>
            </p:extLst>
          </p:nvPr>
        </p:nvGraphicFramePr>
        <p:xfrm>
          <a:off x="5861217" y="1071546"/>
          <a:ext cx="2815152" cy="5319899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865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286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2088">
                <a:tc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Garamond" panose="02020404030301010803" pitchFamily="18" charset="0"/>
                        </a:rPr>
                        <a:t>Diğer</a:t>
                      </a:r>
                      <a:r>
                        <a:rPr lang="tr-TR" sz="900" b="1" i="0" u="none" strike="noStrike" baseline="0" dirty="0" smtClean="0">
                          <a:solidFill>
                            <a:srgbClr val="FF0000"/>
                          </a:solidFill>
                          <a:latin typeface="Garamond" panose="02020404030301010803" pitchFamily="18" charset="0"/>
                        </a:rPr>
                        <a:t> Kamu Hizmetleri (DKH-İktisadı+DKH-Sosyal)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6984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Garamond" panose="02020404030301010803" pitchFamily="18" charset="0"/>
                        </a:rPr>
                        <a:t>10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 smtClean="0">
                          <a:solidFill>
                            <a:srgbClr val="FF0000"/>
                          </a:solidFill>
                          <a:latin typeface="Garamond" panose="02020404030301010803" pitchFamily="18" charset="0"/>
                        </a:rPr>
                        <a:t>DKH-İktisadi</a:t>
                      </a:r>
                      <a:endParaRPr lang="tr-TR" sz="900" b="0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6984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Genel İda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6984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Güvenlik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6984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Adalet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6984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Harita ve Tapu Kadastro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6984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Ticari Hizm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6984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Düzenleyici ve Denetleyici Kur.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6984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Garamond" panose="02020404030301010803" pitchFamily="18" charset="0"/>
                        </a:rPr>
                        <a:t>11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 smtClean="0">
                          <a:solidFill>
                            <a:srgbClr val="FF0000"/>
                          </a:solidFill>
                          <a:latin typeface="Garamond" panose="02020404030301010803" pitchFamily="18" charset="0"/>
                        </a:rPr>
                        <a:t>DKH-Sosyal</a:t>
                      </a:r>
                      <a:endParaRPr lang="tr-TR" sz="900" b="0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6984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İçme Suyu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6984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Kanalizas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6984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Kırsal Planla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6984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Belediye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6984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Yerleşme-Şehi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6984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Çev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6984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Esnaf Sanatkar KSS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6984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Teknolojik Araştırma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56984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Sosyal Hizmetler ve Yardım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56984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Garamond" panose="02020404030301010803" pitchFamily="18" charset="0"/>
                        </a:rPr>
                        <a:t>Af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210342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Garamond" panose="02020404030301010803" pitchFamily="18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8028447" y="333933"/>
            <a:ext cx="763789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 smtClean="0">
                <a:latin typeface="Garamond" panose="02020404030301010803" pitchFamily="18" charset="0"/>
              </a:rPr>
              <a:t>EK-4</a:t>
            </a:r>
            <a:endParaRPr lang="tr-TR" sz="1600" b="1" dirty="0"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0833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 3"/>
          <p:cNvGrpSpPr/>
          <p:nvPr/>
        </p:nvGrpSpPr>
        <p:grpSpPr>
          <a:xfrm>
            <a:off x="35496" y="148883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85787" y="329361"/>
            <a:ext cx="74746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>
                <a:solidFill>
                  <a:prstClr val="white"/>
                </a:solidFill>
                <a:latin typeface="Garamond" panose="02020404030301010803" pitchFamily="18" charset="0"/>
              </a:rPr>
              <a:t>Koordinasyon Kurulu </a:t>
            </a:r>
            <a:r>
              <a:rPr lang="tr-TR" b="1" kern="0" dirty="0" smtClean="0">
                <a:solidFill>
                  <a:prstClr val="white"/>
                </a:solidFill>
                <a:latin typeface="Garamond" panose="02020404030301010803" pitchFamily="18" charset="0"/>
              </a:rPr>
              <a:t>İçin </a:t>
            </a:r>
            <a:r>
              <a:rPr lang="tr-TR" b="1" kern="0" dirty="0">
                <a:solidFill>
                  <a:prstClr val="white"/>
                </a:solidFill>
                <a:latin typeface="Garamond" panose="02020404030301010803" pitchFamily="18" charset="0"/>
              </a:rPr>
              <a:t>İletişim Bilgileri</a:t>
            </a:r>
          </a:p>
        </p:txBody>
      </p:sp>
      <p:graphicFrame>
        <p:nvGraphicFramePr>
          <p:cNvPr id="2" name="Tablo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0468014"/>
              </p:ext>
            </p:extLst>
          </p:nvPr>
        </p:nvGraphicFramePr>
        <p:xfrm>
          <a:off x="395536" y="916735"/>
          <a:ext cx="8344734" cy="5457143"/>
        </p:xfrm>
        <a:graphic>
          <a:graphicData uri="http://schemas.openxmlformats.org/drawingml/2006/table">
            <a:tbl>
              <a:tblPr/>
              <a:tblGrid>
                <a:gridCol w="18151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29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KURUM AD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200" b="0" i="0" u="none" strike="noStrike" dirty="0" smtClean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40">
                <a:tc gridSpan="2">
                  <a:txBody>
                    <a:bodyPr/>
                    <a:lstStyle/>
                    <a:p>
                      <a:pPr algn="ctr" fontAlgn="t"/>
                      <a:r>
                        <a:rPr lang="tr-TR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İL KOORDİNASYON KURULU BİLGİ VE İLETİŞİ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282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Hazırlayan </a:t>
                      </a:r>
                      <a:r>
                        <a:rPr lang="tr-TR" sz="1200" b="1" i="0" u="none" strike="noStrike" dirty="0" smtClean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Personel</a:t>
                      </a:r>
                      <a:endParaRPr lang="tr-TR" sz="1200" b="1" i="0" u="none" strike="noStrike" dirty="0"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Faks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186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</a:t>
                      </a:r>
                      <a:r>
                        <a:rPr lang="tr-TR" sz="1200" b="1" i="0" u="none" strike="noStrike" dirty="0" smtClean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Hazırlayan Kurum Görevlisinin</a:t>
                      </a:r>
                      <a:r>
                        <a:rPr lang="tr-TR" sz="1200" b="1" i="0" u="none" strike="noStrike" baseline="0" dirty="0" smtClean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İzinli Olduğu Hallerde Yerine Vekalet Edecek Personel</a:t>
                      </a:r>
                      <a:r>
                        <a:rPr lang="tr-TR" sz="1200" b="1" i="0" u="none" strike="noStrike" dirty="0" smtClean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endParaRPr lang="tr-TR" sz="1200" b="1" i="0" u="none" strike="noStrike" dirty="0">
                        <a:effectLst/>
                        <a:latin typeface="Garamond" panose="02020404030301010803" pitchFamily="18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48510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leri Onaylayan Kurum Yetkilisi/Müdürü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200" b="0" i="0" u="none" strike="noStrike" dirty="0">
                          <a:effectLst/>
                          <a:latin typeface="Garamond" panose="02020404030301010803" pitchFamily="18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sp>
        <p:nvSpPr>
          <p:cNvPr id="12" name="Metin kutusu 11"/>
          <p:cNvSpPr txBox="1"/>
          <p:nvPr/>
        </p:nvSpPr>
        <p:spPr>
          <a:xfrm>
            <a:off x="8047364" y="314381"/>
            <a:ext cx="773108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 smtClean="0">
                <a:latin typeface="Garamond" panose="02020404030301010803" pitchFamily="18" charset="0"/>
              </a:rPr>
              <a:t>EK-5</a:t>
            </a:r>
            <a:endParaRPr lang="tr-TR" sz="1600" b="1" dirty="0"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7466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heme/theme1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46</TotalTime>
  <Words>784</Words>
  <Application>Microsoft Office PowerPoint</Application>
  <PresentationFormat>Ekran Gösterisi (4:3)</PresentationFormat>
  <Paragraphs>326</Paragraphs>
  <Slides>7</Slides>
  <Notes>3</Notes>
  <HiddenSlides>0</HiddenSlides>
  <MMClips>0</MMClips>
  <ScaleCrop>false</ScaleCrop>
  <HeadingPairs>
    <vt:vector size="6" baseType="variant">
      <vt:variant>
        <vt:lpstr>Kullanılan Yazı Tipleri</vt:lpstr>
      </vt:variant>
      <vt:variant>
        <vt:i4>7</vt:i4>
      </vt:variant>
      <vt:variant>
        <vt:lpstr>Tema</vt:lpstr>
      </vt:variant>
      <vt:variant>
        <vt:i4>1</vt:i4>
      </vt:variant>
      <vt:variant>
        <vt:lpstr>Slayt Başlıkları</vt:lpstr>
      </vt:variant>
      <vt:variant>
        <vt:i4>7</vt:i4>
      </vt:variant>
    </vt:vector>
  </HeadingPairs>
  <TitlesOfParts>
    <vt:vector size="15" baseType="lpstr">
      <vt:lpstr>Arial</vt:lpstr>
      <vt:lpstr>Arial Tur</vt:lpstr>
      <vt:lpstr>Calibri</vt:lpstr>
      <vt:lpstr>Garamond</vt:lpstr>
      <vt:lpstr>Segoe UI</vt:lpstr>
      <vt:lpstr>Segoe UI Semibold</vt:lpstr>
      <vt:lpstr>Times New Roman</vt:lpstr>
      <vt:lpstr>Ofis Teması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SONGULKOZBERI</dc:creator>
  <cp:lastModifiedBy>Vahit COMART</cp:lastModifiedBy>
  <cp:revision>223</cp:revision>
  <cp:lastPrinted>2017-09-05T10:25:42Z</cp:lastPrinted>
  <dcterms:created xsi:type="dcterms:W3CDTF">2013-12-10T10:55:21Z</dcterms:created>
  <dcterms:modified xsi:type="dcterms:W3CDTF">2019-09-04T07:48:05Z</dcterms:modified>
</cp:coreProperties>
</file>